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02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43.xml" ContentType="application/vnd.openxmlformats-officedocument.presentationml.tags+xml"/>
  <Override PartName="/ppt/notesSlides/notesSlide102.xml" ContentType="application/vnd.openxmlformats-officedocument.presentationml.notes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3" r:id="rId10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02.xml" Id="rId10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02.xml.rels>&#65279;<?xml version="1.0" encoding="utf-8"?><Relationships xmlns="http://schemas.openxmlformats.org/package/2006/relationships"><Relationship Type="http://schemas.openxmlformats.org/officeDocument/2006/relationships/slide" Target="/ppt/slides/slide102.xml" Id="rId2" /><Relationship Type="http://schemas.openxmlformats.org/officeDocument/2006/relationships/notesMaster" Target="/ppt/notesMasters/notesMaster1.xml" Id="rId1" /></Relationship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36539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02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43.xml" Id="rId2" /><Relationship Type="http://schemas.openxmlformats.org/officeDocument/2006/relationships/vmlDrawing" Target="/ppt/drawings/vmlDrawing106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06.bin" Id="rId5" /><Relationship Type="http://schemas.openxmlformats.org/officeDocument/2006/relationships/notesSlide" Target="/ppt/notesSlides/notesSlide102.xml" Id="rId4" /></Relationships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31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Pillar text box</a:t>
            </a:r>
          </a:p>
        </p:txBody>
      </p:sp>
      <p:sp>
        <p:nvSpPr>
          <p:cNvPr id="2" name="Freihandform: Form 22">
            <a:extLst>
              <a:ext uri="{FF2B5EF4-FFF2-40B4-BE49-F238E27FC236}">
                <a16:creationId xmlns:a16="http://schemas.microsoft.com/office/drawing/2014/main" id="{E8778148-89C8-9C7D-ACC4-0D1D3961CC03}"/>
              </a:ext>
            </a:extLst>
          </p:cNvPr>
          <p:cNvSpPr>
            <a:spLocks/>
          </p:cNvSpPr>
          <p:nvPr/>
        </p:nvSpPr>
        <p:spPr>
          <a:xfrm>
            <a:off x="407988" y="1557339"/>
            <a:ext cx="11412537" cy="1333756"/>
          </a:xfrm>
          <a:custGeom>
            <a:avLst/>
            <a:gdLst>
              <a:gd name="connsiteX0" fmla="*/ 5695157 w 11390313"/>
              <a:gd name="connsiteY0" fmla="*/ 0 h 1440080"/>
              <a:gd name="connsiteX1" fmla="*/ 11390313 w 11390313"/>
              <a:gd name="connsiteY1" fmla="*/ 1286192 h 1440080"/>
              <a:gd name="connsiteX2" fmla="*/ 11390313 w 11390313"/>
              <a:gd name="connsiteY2" fmla="*/ 1440080 h 1440080"/>
              <a:gd name="connsiteX3" fmla="*/ 0 w 11390313"/>
              <a:gd name="connsiteY3" fmla="*/ 1440080 h 1440080"/>
              <a:gd name="connsiteX4" fmla="*/ 0 w 11390313"/>
              <a:gd name="connsiteY4" fmla="*/ 1286192 h 144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90313" h="1440080">
                <a:moveTo>
                  <a:pt x="5695157" y="0"/>
                </a:moveTo>
                <a:lnTo>
                  <a:pt x="11390313" y="1286192"/>
                </a:lnTo>
                <a:lnTo>
                  <a:pt x="11390313" y="1440080"/>
                </a:lnTo>
                <a:lnTo>
                  <a:pt x="0" y="1440080"/>
                </a:lnTo>
                <a:lnTo>
                  <a:pt x="0" y="12861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540000" rIns="0" bIns="25200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</p:txBody>
      </p:sp>
      <p:sp>
        <p:nvSpPr>
          <p:cNvPr id="3" name="Rechteck 14">
            <a:extLst>
              <a:ext uri="{FF2B5EF4-FFF2-40B4-BE49-F238E27FC236}">
                <a16:creationId xmlns:a16="http://schemas.microsoft.com/office/drawing/2014/main" id="{8EF1D044-01AE-5F23-DCA8-32830304C72E}"/>
              </a:ext>
            </a:extLst>
          </p:cNvPr>
          <p:cNvSpPr>
            <a:spLocks/>
          </p:cNvSpPr>
          <p:nvPr/>
        </p:nvSpPr>
        <p:spPr>
          <a:xfrm>
            <a:off x="407988" y="5684447"/>
            <a:ext cx="11412537" cy="3734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</p:txBody>
      </p:sp>
      <p:sp>
        <p:nvSpPr>
          <p:cNvPr id="4" name="Rechteck 16">
            <a:extLst>
              <a:ext uri="{FF2B5EF4-FFF2-40B4-BE49-F238E27FC236}">
                <a16:creationId xmlns:a16="http://schemas.microsoft.com/office/drawing/2014/main" id="{9632DA79-8E5F-2213-4E97-06760A4BB263}"/>
              </a:ext>
            </a:extLst>
          </p:cNvPr>
          <p:cNvSpPr>
            <a:spLocks/>
          </p:cNvSpPr>
          <p:nvPr/>
        </p:nvSpPr>
        <p:spPr>
          <a:xfrm>
            <a:off x="520424" y="3016101"/>
            <a:ext cx="11187665" cy="107498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6" name="Rechteck 18">
            <a:extLst>
              <a:ext uri="{FF2B5EF4-FFF2-40B4-BE49-F238E27FC236}">
                <a16:creationId xmlns:a16="http://schemas.microsoft.com/office/drawing/2014/main" id="{6BBC18F9-8642-2410-F24C-9AC6A136E39D}"/>
              </a:ext>
            </a:extLst>
          </p:cNvPr>
          <p:cNvSpPr>
            <a:spLocks/>
          </p:cNvSpPr>
          <p:nvPr/>
        </p:nvSpPr>
        <p:spPr>
          <a:xfrm>
            <a:off x="520424" y="4216090"/>
            <a:ext cx="2688706" cy="1343352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7" name="Rechteck 19">
            <a:extLst>
              <a:ext uri="{FF2B5EF4-FFF2-40B4-BE49-F238E27FC236}">
                <a16:creationId xmlns:a16="http://schemas.microsoft.com/office/drawing/2014/main" id="{CAF2C6D5-E5AA-DD51-98BC-5E4AD3AC8AEA}"/>
              </a:ext>
            </a:extLst>
          </p:cNvPr>
          <p:cNvSpPr>
            <a:spLocks/>
          </p:cNvSpPr>
          <p:nvPr/>
        </p:nvSpPr>
        <p:spPr>
          <a:xfrm>
            <a:off x="3353411" y="4216090"/>
            <a:ext cx="2688706" cy="1343352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Rechteck 20">
            <a:extLst>
              <a:ext uri="{FF2B5EF4-FFF2-40B4-BE49-F238E27FC236}">
                <a16:creationId xmlns:a16="http://schemas.microsoft.com/office/drawing/2014/main" id="{4E9D3D17-3B2C-226B-8999-58F53311F6E6}"/>
              </a:ext>
            </a:extLst>
          </p:cNvPr>
          <p:cNvSpPr>
            <a:spLocks/>
          </p:cNvSpPr>
          <p:nvPr/>
        </p:nvSpPr>
        <p:spPr>
          <a:xfrm>
            <a:off x="6186397" y="4216090"/>
            <a:ext cx="2688706" cy="1343352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11" name="Rechteck 21">
            <a:extLst>
              <a:ext uri="{FF2B5EF4-FFF2-40B4-BE49-F238E27FC236}">
                <a16:creationId xmlns:a16="http://schemas.microsoft.com/office/drawing/2014/main" id="{6D25AC8C-4105-FBF8-B01C-07C1FDA66E4C}"/>
              </a:ext>
            </a:extLst>
          </p:cNvPr>
          <p:cNvSpPr>
            <a:spLocks/>
          </p:cNvSpPr>
          <p:nvPr/>
        </p:nvSpPr>
        <p:spPr>
          <a:xfrm>
            <a:off x="9019383" y="4216090"/>
            <a:ext cx="2688706" cy="1343352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Sample text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 sz="12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200" err="1">
                <a:solidFill>
                  <a:srgbClr val="000000"/>
                </a:solidFill>
                <a:sym typeface="Futura"/>
              </a:rPr>
              <a:t>amet</a:t>
            </a:r>
            <a:endParaRPr lang="en-US" sz="1200">
              <a:solidFill>
                <a:srgbClr val="000000"/>
              </a:solidFill>
              <a:sym typeface="Futura"/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4B66BA37-55B3-1B88-82E5-7F56EE7E91FE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7698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pillars, boxes</a:t>
            </a:r>
          </a:p>
        </p:txBody>
      </p:sp>
    </p:spTree>
    <p:extLst>
      <p:ext uri="{BB962C8B-B14F-4D97-AF65-F5344CB8AC3E}">
        <p14:creationId xmlns:p14="http://schemas.microsoft.com/office/powerpoint/2010/main" val="3255490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